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461" r:id="rId5"/>
    <p:sldId id="639" r:id="rId6"/>
    <p:sldId id="872" r:id="rId7"/>
    <p:sldId id="873" r:id="rId8"/>
    <p:sldId id="877" r:id="rId9"/>
    <p:sldId id="874" r:id="rId10"/>
    <p:sldId id="875" r:id="rId11"/>
    <p:sldId id="876" r:id="rId12"/>
    <p:sldId id="734" r:id="rId13"/>
    <p:sldId id="364" r:id="rId14"/>
  </p:sldIdLst>
  <p:sldSz cx="9144000" cy="6858000" type="screen4x3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3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17">
          <p15:clr>
            <a:srgbClr val="A4A3A4"/>
          </p15:clr>
        </p15:guide>
        <p15:guide id="4" orient="horz" pos="4196">
          <p15:clr>
            <a:srgbClr val="A4A3A4"/>
          </p15:clr>
        </p15:guide>
        <p15:guide id="5" orient="horz" pos="3874">
          <p15:clr>
            <a:srgbClr val="A4A3A4"/>
          </p15:clr>
        </p15:guide>
        <p15:guide id="6" orient="horz" pos="2083">
          <p15:clr>
            <a:srgbClr val="A4A3A4"/>
          </p15:clr>
        </p15:guide>
        <p15:guide id="7" orient="horz" pos="697">
          <p15:clr>
            <a:srgbClr val="A4A3A4"/>
          </p15:clr>
        </p15:guide>
        <p15:guide id="8" pos="2775">
          <p15:clr>
            <a:srgbClr val="A4A3A4"/>
          </p15:clr>
        </p15:guide>
        <p15:guide id="9" pos="3000">
          <p15:clr>
            <a:srgbClr val="A4A3A4"/>
          </p15:clr>
        </p15:guide>
        <p15:guide id="10" pos="282">
          <p15:clr>
            <a:srgbClr val="A4A3A4"/>
          </p15:clr>
        </p15:guide>
        <p15:guide id="11" pos="2880">
          <p15:clr>
            <a:srgbClr val="A4A3A4"/>
          </p15:clr>
        </p15:guide>
        <p15:guide id="12" pos="54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NIGGEJ" initials="K" lastIdx="1" clrIdx="0"/>
  <p:cmAuthor id="1" name="SMEETSK" initials="S" lastIdx="1" clrIdx="1"/>
  <p:cmAuthor id="2" name="Ruud Lemmers" initials="RL" lastIdx="3" clrIdx="2"/>
  <p:cmAuthor id="3" name="pdreessen" initials="p" lastIdx="1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411CE0"/>
    <a:srgbClr val="4055BC"/>
    <a:srgbClr val="546EA8"/>
    <a:srgbClr val="657697"/>
    <a:srgbClr val="5B9AA1"/>
    <a:srgbClr val="6645B7"/>
    <a:srgbClr val="921E3A"/>
    <a:srgbClr val="CDC800"/>
    <a:srgbClr val="FFFF00"/>
    <a:srgbClr val="2D2B2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77" autoAdjust="0"/>
    <p:restoredTop sz="94505" autoAdjust="0"/>
  </p:normalViewPr>
  <p:slideViewPr>
    <p:cSldViewPr>
      <p:cViewPr>
        <p:scale>
          <a:sx n="80" d="100"/>
          <a:sy n="80" d="100"/>
        </p:scale>
        <p:origin x="-1536" y="-378"/>
      </p:cViewPr>
      <p:guideLst>
        <p:guide orient="horz" pos="835"/>
        <p:guide orient="horz" pos="798"/>
        <p:guide orient="horz" pos="117"/>
        <p:guide orient="horz" pos="4196"/>
        <p:guide orient="horz" pos="3874"/>
        <p:guide orient="horz" pos="2083"/>
        <p:guide orient="horz" pos="697"/>
        <p:guide pos="2775"/>
        <p:guide pos="3000"/>
        <p:guide pos="282"/>
        <p:guide pos="2880"/>
        <p:guide pos="5480"/>
      </p:guideLst>
    </p:cSldViewPr>
  </p:slideViewPr>
  <p:outlineViewPr>
    <p:cViewPr>
      <p:scale>
        <a:sx n="33" d="100"/>
        <a:sy n="33" d="100"/>
      </p:scale>
      <p:origin x="43" y="553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1" d="100"/>
        <a:sy n="51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20" y="-84"/>
      </p:cViewPr>
      <p:guideLst>
        <p:guide orient="horz" pos="3132"/>
        <p:guide pos="2145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A2E8FD-2AFE-4B1E-9D19-015693014FEA}" type="datetimeFigureOut">
              <a:rPr lang="en-US" smtClean="0">
                <a:latin typeface="Arial" pitchFamily="34" charset="0"/>
              </a:rPr>
              <a:pPr/>
              <a:t>7/13/2016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D0142-0A92-499C-9E53-36958F98D275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9342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5D7A87D-1CDA-443F-BAE3-82C9C05446C3}" type="datetimeFigureOut">
              <a:rPr lang="en-US" smtClean="0"/>
              <a:pPr/>
              <a:t>7/13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0B9C825-F38E-45BB-92C1-043DE61C91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1627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50182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1909" b="12591"/>
          <a:stretch/>
        </p:blipFill>
        <p:spPr bwMode="auto">
          <a:xfrm>
            <a:off x="9" y="0"/>
            <a:ext cx="9246721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cover_bg_beet_part2.jpg &lt;IGNORE&gt;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4069080"/>
            <a:ext cx="9144000" cy="1527048"/>
          </a:xfrm>
          <a:prstGeom prst="rect">
            <a:avLst/>
          </a:prstGeom>
        </p:spPr>
      </p:pic>
      <p:pic>
        <p:nvPicPr>
          <p:cNvPr id="50" name="Picture 8" descr="cover_bg_beet_part1.jp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9" y="3906044"/>
            <a:ext cx="9143961" cy="178592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449262" y="4204514"/>
            <a:ext cx="8250237" cy="1244816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3600" b="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</a:t>
            </a:r>
            <a:br>
              <a:rPr lang="en-US" noProof="0" smtClean="0"/>
            </a:br>
            <a:r>
              <a:rPr lang="en-US" noProof="0" smtClean="0"/>
              <a:t>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7675" y="5721349"/>
            <a:ext cx="5881407" cy="6794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lang="en-GB" sz="1400" kern="1200" noProof="0" dirty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20" name="TextBox 19"/>
          <p:cNvSpPr txBox="1"/>
          <p:nvPr userDrawn="1"/>
        </p:nvSpPr>
        <p:spPr bwMode="auto">
          <a:xfrm>
            <a:off x="449263" y="6515641"/>
            <a:ext cx="2531443" cy="19391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© CGI Group Inc. CONFIDENTIAL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762500" y="1325563"/>
            <a:ext cx="3924300" cy="48355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500"/>
              </a:spcBef>
              <a:buNone/>
              <a:defRPr lang="en-GB" sz="20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447675" y="2508250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325563"/>
            <a:ext cx="8251825" cy="34607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7674" y="5016525"/>
            <a:ext cx="8251825" cy="1136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small graph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6825"/>
            <a:ext cx="626110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3" hasCustomPrompt="1"/>
          </p:nvPr>
        </p:nvSpPr>
        <p:spPr>
          <a:xfrm>
            <a:off x="6854825" y="1325563"/>
            <a:ext cx="1844675" cy="4827587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 typeface="Arial" pitchFamily="34" charset="0"/>
              <a:buNone/>
              <a:defRPr lang="en-A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Text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24"/>
          </p:nvPr>
        </p:nvSpPr>
        <p:spPr>
          <a:xfrm>
            <a:off x="447674" y="1266825"/>
            <a:ext cx="8251825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19" name="Group 18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20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7675" y="1266825"/>
            <a:ext cx="8239125" cy="330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SzPct val="120000"/>
              <a:buFont typeface="Arial" pitchFamily="34" charset="0"/>
              <a:buNone/>
              <a:defRPr sz="1600" baseline="0">
                <a:solidFill>
                  <a:schemeClr val="tx1"/>
                </a:solidFill>
                <a:latin typeface="Arial" pitchFamily="34" charset="0"/>
              </a:defRPr>
            </a:lvl1pPr>
            <a:lvl2pPr marL="273050" indent="-265113">
              <a:spcBef>
                <a:spcPts val="600"/>
              </a:spcBef>
              <a:buClr>
                <a:schemeClr val="tx2"/>
              </a:buClr>
              <a:buSzPct val="120000"/>
              <a:buFont typeface="Verdana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631825" indent="-216000">
              <a:spcBef>
                <a:spcPts val="600"/>
              </a:spcBef>
              <a:buFont typeface="Verdana" pitchFamily="34" charset="0"/>
              <a:buChar char="−"/>
              <a:tabLst/>
              <a:defRPr sz="1600">
                <a:solidFill>
                  <a:schemeClr val="tx1"/>
                </a:solidFill>
              </a:defRPr>
            </a:lvl3pPr>
            <a:lvl4pPr marL="804863" indent="-216000">
              <a:spcBef>
                <a:spcPts val="600"/>
              </a:spcBef>
              <a:buFont typeface="Verdana" pitchFamily="34" charset="0"/>
              <a:buChar char="−"/>
              <a:defRPr sz="1400">
                <a:solidFill>
                  <a:schemeClr val="tx1"/>
                </a:solidFill>
              </a:defRPr>
            </a:lvl4pPr>
            <a:lvl5pPr marL="977900" indent="-216000">
              <a:spcBef>
                <a:spcPts val="600"/>
              </a:spcBef>
              <a:buFont typeface="Arial" pitchFamily="34" charset="0"/>
              <a:buChar char="-"/>
              <a:defRPr sz="1400">
                <a:solidFill>
                  <a:schemeClr val="tx1"/>
                </a:solidFill>
              </a:defRPr>
            </a:lvl5pPr>
            <a:lvl6pPr marL="871538" indent="-174625">
              <a:spcBef>
                <a:spcPts val="600"/>
              </a:spcBef>
              <a:defRPr sz="1400"/>
            </a:lvl6pPr>
            <a:lvl7pPr marL="1168400" indent="-216000">
              <a:spcBef>
                <a:spcPts val="600"/>
              </a:spcBef>
              <a:defRPr sz="140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noProof="0" smtClean="0"/>
              <a:t>Click to enter text</a:t>
            </a:r>
            <a:endParaRPr lang="en-US" noProof="0" dirty="0" smtClean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744717"/>
            <a:ext cx="8251825" cy="44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5" y="1266825"/>
            <a:ext cx="6262688" cy="173037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page for sales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9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087" y="1228993"/>
            <a:ext cx="6252276" cy="46166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Thank you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47675" y="2063327"/>
            <a:ext cx="6262688" cy="702365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28" name="Picture 27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250237" cy="48897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8" name="Group 37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4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89829"/>
            <a:ext cx="8250237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89829"/>
            <a:ext cx="3956049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20"/>
          <p:cNvSpPr>
            <a:spLocks noGrp="1"/>
          </p:cNvSpPr>
          <p:nvPr>
            <p:ph sz="quarter" idx="18"/>
          </p:nvPr>
        </p:nvSpPr>
        <p:spPr>
          <a:xfrm>
            <a:off x="4754116" y="1289829"/>
            <a:ext cx="3945384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440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8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4" y="253048"/>
            <a:ext cx="8251825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pic>
        <p:nvPicPr>
          <p:cNvPr id="40" name="Picture 2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4371" b="28907"/>
          <a:stretch/>
        </p:blipFill>
        <p:spPr bwMode="auto">
          <a:xfrm>
            <a:off x="0" y="1898151"/>
            <a:ext cx="9143980" cy="2902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 descr="cover_bg_beet_part2.jpg  &lt;IGNORE&gt;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0" name="Image 15" descr="section.jpg &lt;IGNORE&gt;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286000"/>
            <a:ext cx="9144000" cy="2286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  <a:solidFill>
            <a:srgbClr val="FFFFFF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42" name="Picture 7" descr="bg_connectors.pn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7674" y="253048"/>
            <a:ext cx="8251826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rgbClr val="FFFFFF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5" y="178077"/>
            <a:ext cx="8239125" cy="9255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4" r:id="rId3"/>
    <p:sldLayoutId id="2147483671" r:id="rId4"/>
    <p:sldLayoutId id="2147483678" r:id="rId5"/>
    <p:sldLayoutId id="2147483679" r:id="rId6"/>
    <p:sldLayoutId id="2147483665" r:id="rId7"/>
    <p:sldLayoutId id="2147483670" r:id="rId8"/>
    <p:sldLayoutId id="2147483692" r:id="rId9"/>
    <p:sldLayoutId id="2147483650" r:id="rId10"/>
    <p:sldLayoutId id="2147483667" r:id="rId11"/>
    <p:sldLayoutId id="2147483668" r:id="rId12"/>
    <p:sldLayoutId id="2147483687" r:id="rId13"/>
    <p:sldLayoutId id="2147483690" r:id="rId14"/>
    <p:sldLayoutId id="2147483691" r:id="rId15"/>
    <p:sldLayoutId id="2147483661" r:id="rId16"/>
    <p:sldLayoutId id="2147483660" r:id="rId17"/>
    <p:sldLayoutId id="2147483672" r:id="rId1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racle.com/javafx/2/api/javafx/scene/doc-files/cssref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JavaFX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900" dirty="0" smtClean="0"/>
              <a:t/>
            </a:r>
            <a:br>
              <a:rPr lang="en-US" sz="900" dirty="0" smtClean="0"/>
            </a:br>
            <a:r>
              <a:rPr lang="en-US" sz="2400" i="1" dirty="0" smtClean="0"/>
              <a:t>(not so) new GUI for Java</a:t>
            </a:r>
            <a:endParaRPr lang="en-US" sz="24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21 </a:t>
            </a:r>
            <a:r>
              <a:rPr lang="en-US" dirty="0" err="1" smtClean="0"/>
              <a:t>Juli</a:t>
            </a:r>
            <a:r>
              <a:rPr lang="en-US" dirty="0" smtClean="0"/>
              <a:t> 2016</a:t>
            </a:r>
          </a:p>
        </p:txBody>
      </p:sp>
    </p:spTree>
    <p:extLst>
      <p:ext uri="{BB962C8B-B14F-4D97-AF65-F5344CB8AC3E}">
        <p14:creationId xmlns="" xmlns:p14="http://schemas.microsoft.com/office/powerpoint/2010/main" val="36978781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ur commitment to you</a:t>
            </a:r>
            <a:br>
              <a:rPr lang="en-US" dirty="0" smtClean="0"/>
            </a:br>
            <a:r>
              <a:rPr lang="en-US" sz="2800" dirty="0" smtClean="0">
                <a:solidFill>
                  <a:schemeClr val="tx1"/>
                </a:solidFill>
              </a:rPr>
              <a:t>We approach every engagement with one objective in mind: to help clients succeed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0" y="5011082"/>
            <a:ext cx="9143999" cy="1152084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50000">
                <a:schemeClr val="accent1"/>
              </a:gs>
              <a:gs pos="100000">
                <a:schemeClr val="tx2"/>
              </a:gs>
            </a:gsLst>
            <a:lin ang="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144000" tIns="46797" rIns="144000" bIns="46797" rtlCol="0" anchor="ctr">
            <a:noAutofit/>
          </a:bodyPr>
          <a:lstStyle/>
          <a:p>
            <a:pPr marL="266700" defTabSz="914357">
              <a:buClr>
                <a:srgbClr val="FFFFFF"/>
              </a:buClr>
              <a:buSzPct val="110000"/>
              <a:defRPr/>
            </a:pPr>
            <a:r>
              <a:rPr lang="de-DE" sz="3200" dirty="0">
                <a:solidFill>
                  <a:srgbClr val="FFFFFF"/>
                </a:solidFill>
              </a:rPr>
              <a:t>CGI in collaboration with you.</a:t>
            </a:r>
          </a:p>
        </p:txBody>
      </p:sp>
      <p:sp>
        <p:nvSpPr>
          <p:cNvPr id="22" name="Rechteck 21"/>
          <p:cNvSpPr/>
          <p:nvPr>
            <p:custDataLst>
              <p:tags r:id="rId2"/>
            </p:custDataLst>
          </p:nvPr>
        </p:nvSpPr>
        <p:spPr bwMode="gray">
          <a:xfrm>
            <a:off x="304800" y="990600"/>
            <a:ext cx="8534400" cy="381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t" anchorCtr="0"/>
          <a:lstStyle/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Intro /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eten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17:30 – 18:30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Overzicht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customization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terkte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zwakte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Interoperabiliteit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Beheer</a:t>
            </a:r>
            <a:endParaRPr lang="de-DE" b="1" dirty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Demos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Aan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de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lag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71475" y="0"/>
            <a:ext cx="8239125" cy="920750"/>
          </a:xfrm>
        </p:spPr>
        <p:txBody>
          <a:bodyPr/>
          <a:lstStyle/>
          <a:p>
            <a:r>
              <a:rPr lang="nl-NL" dirty="0" smtClean="0"/>
              <a:t>Agenda</a:t>
            </a:r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426180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verzic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3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s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://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docs.oracle.com/javafx/2/api/javafx/scene/doc-files/cssref.html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://docs.oracle.com/javafx/2/api/javafx/fxml/doc-files/introduction_to_fxml.html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Swing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wt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ava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https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://docs.oracle.com/javafx/2/</a:t>
            </a:r>
            <a:endParaRPr kumimoji="0" lang="en-US" sz="16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multiplatform (see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gluonhq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)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=&gt; desktop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ndroid, </a:t>
            </a:r>
            <a:r>
              <a:rPr lang="en-US" sz="3000" baseline="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iOS</a:t>
            </a: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, Arm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ustomizatio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4</a:t>
            </a:fld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57200" y="990600"/>
            <a:ext cx="8458200" cy="5105400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85000" lnSpcReduction="20000"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type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.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xmlns:f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http://javafx.com/fxml"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i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Button text="Click Me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onAc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#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/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gt;</a:t>
            </a:r>
          </a:p>
          <a:p>
            <a:pPr lvl="0">
              <a:spcBef>
                <a:spcPct val="0"/>
              </a:spcBef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public clas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tend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 private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=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Class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Resourc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_control.fxm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)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.set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.setControll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try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.loa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} catch 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IO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ception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    throw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Runtime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exception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String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ge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}</a:t>
            </a: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String value)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set(valu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);}</a:t>
            </a: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tring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.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}</a:t>
            </a: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rotected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ystem.out.printl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The button was clicke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!");}</a:t>
            </a: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rkte zwakt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5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GU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	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	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vc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	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eauty / fea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Jvm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Ja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ultiplatform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9530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Deploy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Oracle</a:t>
            </a: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Interoperabilitei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6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wingNode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FXPanel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WebView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ehe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7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packag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running</a:t>
            </a:r>
            <a:endParaRPr kumimoji="0" lang="en-US" sz="30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updates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Demo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8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cruitement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t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porting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tylesheet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utton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Aan de slag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1365250"/>
            <a:ext cx="8239125" cy="43497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2048</a:t>
            </a:r>
            <a:endParaRPr kumimoji="0" lang="nl-NL" sz="3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1918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qulstWLE.CIbRIEUiEtg"/>
</p:tagLst>
</file>

<file path=ppt/theme/theme1.xml><?xml version="1.0" encoding="utf-8"?>
<a:theme xmlns:a="http://schemas.openxmlformats.org/drawingml/2006/main" name="CGI-beet-PPT-template_EN">
  <a:themeElements>
    <a:clrScheme name="CGI">
      <a:dk1>
        <a:srgbClr val="363534"/>
      </a:dk1>
      <a:lt1>
        <a:srgbClr val="FFFFFF"/>
      </a:lt1>
      <a:dk2>
        <a:srgbClr val="991F3D"/>
      </a:dk2>
      <a:lt2>
        <a:srgbClr val="FFFFFF"/>
      </a:lt2>
      <a:accent1>
        <a:srgbClr val="E31937"/>
      </a:accent1>
      <a:accent2>
        <a:srgbClr val="991F3D"/>
      </a:accent2>
      <a:accent3>
        <a:srgbClr val="FF6A00"/>
      </a:accent3>
      <a:accent4>
        <a:srgbClr val="A1C4D0"/>
      </a:accent4>
      <a:accent5>
        <a:srgbClr val="F2A200"/>
      </a:accent5>
      <a:accent6>
        <a:srgbClr val="A5ACB0"/>
      </a:accent6>
      <a:hlink>
        <a:srgbClr val="E67386"/>
      </a:hlink>
      <a:folHlink>
        <a:srgbClr val="FFAA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lIns="63500" tIns="0" rIns="64800" bIns="0" rtlCol="0" anchor="ctr"/>
      <a:lstStyle>
        <a:defPPr algn="ctr">
          <a:spcBef>
            <a:spcPct val="0"/>
          </a:spcBef>
          <a:buClrTx/>
          <a:buSzPct val="90000"/>
          <a:defRPr sz="1600" b="1" dirty="0">
            <a:solidFill>
              <a:schemeClr val="bg1"/>
            </a:solidFill>
            <a:cs typeface="Arial" pitchFamily="34" charset="0"/>
          </a:defRPr>
        </a:defPPr>
      </a:lstStyle>
    </a:spDef>
    <a:lnDef>
      <a:spPr bwMode="gray">
        <a:noFill/>
        <a:ln w="12700">
          <a:solidFill>
            <a:schemeClr val="accent1"/>
          </a:solidFill>
          <a:round/>
          <a:headEnd/>
          <a:tailEnd/>
        </a:ln>
        <a:effectLst/>
      </a:spPr>
      <a:bodyPr/>
      <a:lstStyle/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0" tIns="0" rIns="0" bIns="0" rtlCol="0">
        <a:spAutoFit/>
      </a:bodyPr>
      <a:lstStyle>
        <a:defPPr>
          <a:defRPr dirty="0" smtClean="0"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E5F243641E7E4C92649845A0D853DB" ma:contentTypeVersion="0" ma:contentTypeDescription="Create a new document." ma:contentTypeScope="" ma:versionID="212a420232fce5dc7d9243822d3a4c4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DA5D674-9920-4D2F-B065-BC24FD29F8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DB7DDE-87D9-442A-8DF7-AC524E66A1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F346CD18-12AD-4AEC-8965-62D46F5CB212}">
  <ds:schemaRefs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I-beet-PPT-template_EN</Template>
  <TotalTime>397</TotalTime>
  <Words>277</Words>
  <Application>Microsoft Office PowerPoint</Application>
  <PresentationFormat>On-screen Show (4:3)</PresentationFormat>
  <Paragraphs>91</Paragraphs>
  <Slides>10</Slides>
  <Notes>1</Notes>
  <HiddenSlides>6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CGI-beet-PPT-template_EN</vt:lpstr>
      <vt:lpstr>JavaFX  (not so) new GUI for Java</vt:lpstr>
      <vt:lpstr>Agenda</vt:lpstr>
      <vt:lpstr>Overzicht</vt:lpstr>
      <vt:lpstr>Customization</vt:lpstr>
      <vt:lpstr>Sterkte zwakte</vt:lpstr>
      <vt:lpstr>Interoperabiliteit</vt:lpstr>
      <vt:lpstr>Beheer</vt:lpstr>
      <vt:lpstr>Demos</vt:lpstr>
      <vt:lpstr>Aan de slag</vt:lpstr>
      <vt:lpstr>Our commitment to you We approach every engagement with one objective in mind: to help clients succeed</vt:lpstr>
    </vt:vector>
  </TitlesOfParts>
  <Company>CG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GP Demo Sprint 27 FlexOVL</dc:title>
  <dc:creator>karen.sellers</dc:creator>
  <cp:lastModifiedBy>Eduard</cp:lastModifiedBy>
  <cp:revision>982</cp:revision>
  <cp:lastPrinted>2016-01-15T15:12:31Z</cp:lastPrinted>
  <dcterms:created xsi:type="dcterms:W3CDTF">2012-12-22T14:05:29Z</dcterms:created>
  <dcterms:modified xsi:type="dcterms:W3CDTF">2016-07-13T09:46:43Z</dcterms:modified>
  <cp:contentType>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  <property fmtid="{D5CDD505-2E9C-101B-9397-08002B2CF9AE}" pid="4" name="ContentTypeId">
    <vt:lpwstr>0x01010029E5F243641E7E4C92649845A0D853DB</vt:lpwstr>
  </property>
  <property fmtid="{D5CDD505-2E9C-101B-9397-08002B2CF9AE}" pid="5" name="CSClassificationMetaXML">
    <vt:lpwstr>cb5dc3c5-268e-4ea5-8825-517ef1bf2f0d;2012-01-24 10:31:10;PENDINGCLASSIFICATION;</vt:lpwstr>
  </property>
  <property fmtid="{D5CDD505-2E9C-101B-9397-08002B2CF9AE}" pid="6" name="Service_x0020_line">
    <vt:lpwstr/>
  </property>
  <property fmtid="{D5CDD505-2E9C-101B-9397-08002B2CF9AE}" pid="7" name="Proposition1">
    <vt:lpwstr/>
  </property>
  <property fmtid="{D5CDD505-2E9C-101B-9397-08002B2CF9AE}" pid="8" name="Service line">
    <vt:lpwstr/>
  </property>
  <property fmtid="{D5CDD505-2E9C-101B-9397-08002B2CF9AE}" pid="9" name="Organisation">
    <vt:lpwstr>36;#North America|432c26d4-6fa6-4d6a-a083-35cd92b71c1e</vt:lpwstr>
  </property>
  <property fmtid="{D5CDD505-2E9C-101B-9397-08002B2CF9AE}" pid="10" name="c5aebc35b3e840e5912c276ffe755dcf">
    <vt:lpwstr/>
  </property>
  <property fmtid="{D5CDD505-2E9C-101B-9397-08002B2CF9AE}" pid="11" name="Publication Date">
    <vt:lpwstr>2013-01-09T00:00:00+00:00</vt:lpwstr>
  </property>
  <property fmtid="{D5CDD505-2E9C-101B-9397-08002B2CF9AE}" pid="12" name="CSMeta2010Field">
    <vt:lpwstr>e3756241-2df6-41de-be5e-75b6e6bb08f6;2012-09-21 22:00:55;PENDINGCLASSIFICATION;False</vt:lpwstr>
  </property>
  <property fmtid="{D5CDD505-2E9C-101B-9397-08002B2CF9AE}" pid="13" name="Language">
    <vt:lpwstr>EN</vt:lpwstr>
  </property>
  <property fmtid="{D5CDD505-2E9C-101B-9397-08002B2CF9AE}" pid="14" name="Abstract">
    <vt:lpwstr>CGI-beet-option_EN</vt:lpwstr>
  </property>
  <property fmtid="{D5CDD505-2E9C-101B-9397-08002B2CF9AE}" pid="15" name="BS Document Sub Type">
    <vt:lpwstr>Business Aid</vt:lpwstr>
  </property>
  <property fmtid="{D5CDD505-2E9C-101B-9397-08002B2CF9AE}" pid="16" name="Best Before Date">
    <vt:lpwstr>2018-01-09T00:00:00+00:00</vt:lpwstr>
  </property>
  <property fmtid="{D5CDD505-2E9C-101B-9397-08002B2CF9AE}" pid="17" name="Published By">
    <vt:lpwstr>Stiller, Regina C55167</vt:lpwstr>
  </property>
  <property fmtid="{D5CDD505-2E9C-101B-9397-08002B2CF9AE}" pid="18" name="External Use">
    <vt:lpwstr>No</vt:lpwstr>
  </property>
  <property fmtid="{D5CDD505-2E9C-101B-9397-08002B2CF9AE}" pid="19" name="Owner Organisation">
    <vt:lpwstr>United States</vt:lpwstr>
  </property>
  <property fmtid="{D5CDD505-2E9C-101B-9397-08002B2CF9AE}" pid="20" name="c79d12643ffc4d60ab657aaa1718cc32">
    <vt:lpwstr>North America432c26d4-6fa6-4d6a-a083-35cd92b71c1e</vt:lpwstr>
  </property>
  <property fmtid="{D5CDD505-2E9C-101B-9397-08002B2CF9AE}" pid="21" name="p43f7bb208e443c9b50eb304fe6606a3">
    <vt:lpwstr/>
  </property>
  <property fmtid="{D5CDD505-2E9C-101B-9397-08002B2CF9AE}" pid="22" name="h4c66fbf292e4125b0e390af25f11c04">
    <vt:lpwstr/>
  </property>
  <property fmtid="{D5CDD505-2E9C-101B-9397-08002B2CF9AE}" pid="23" name="eafb632c3f5c40ba98242be6bbd6bb17">
    <vt:lpwstr/>
  </property>
  <property fmtid="{D5CDD505-2E9C-101B-9397-08002B2CF9AE}" pid="24" name="TaxCatchAll">
    <vt:lpwstr>36</vt:lpwstr>
  </property>
</Properties>
</file>